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84" r:id="rId1"/>
  </p:sldMasterIdLst>
  <p:notesMasterIdLst>
    <p:notesMasterId r:id="rId11"/>
  </p:notesMasterIdLst>
  <p:sldIdLst>
    <p:sldId id="256" r:id="rId2"/>
    <p:sldId id="269" r:id="rId3"/>
    <p:sldId id="270" r:id="rId4"/>
    <p:sldId id="277" r:id="rId5"/>
    <p:sldId id="275" r:id="rId6"/>
    <p:sldId id="271" r:id="rId7"/>
    <p:sldId id="278" r:id="rId8"/>
    <p:sldId id="279" r:id="rId9"/>
    <p:sldId id="276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39" autoAdjust="0"/>
    <p:restoredTop sz="96182" autoAdjust="0"/>
  </p:normalViewPr>
  <p:slideViewPr>
    <p:cSldViewPr snapToGrid="0">
      <p:cViewPr>
        <p:scale>
          <a:sx n="90" d="100"/>
          <a:sy n="90" d="100"/>
        </p:scale>
        <p:origin x="-64" y="5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93105" y="802298"/>
            <a:ext cx="8561747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93106" y="3531204"/>
            <a:ext cx="8561746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93105" y="329307"/>
            <a:ext cx="4897310" cy="309201"/>
          </a:xfr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2334637" y="798973"/>
            <a:ext cx="0" cy="2544756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956238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7313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883863"/>
            <a:ext cx="1615742" cy="45749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34694" y="883863"/>
            <a:ext cx="7738807" cy="457499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9439111" y="719272"/>
            <a:ext cx="1615742" cy="0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018532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7119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783531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4813" y="1756130"/>
            <a:ext cx="8562580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34695" y="3806195"/>
            <a:ext cx="8549990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371687" y="798973"/>
            <a:ext cx="0" cy="2845107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32961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4695" y="804889"/>
            <a:ext cx="9520157" cy="105930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34695" y="2010878"/>
            <a:ext cx="4608576" cy="343814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4793" y="2017343"/>
            <a:ext cx="4604130" cy="344152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832944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4695" y="804163"/>
            <a:ext cx="9520157" cy="105631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34695" y="2019549"/>
            <a:ext cx="4608576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34695" y="2824269"/>
            <a:ext cx="4608576" cy="264445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54791" y="2023003"/>
            <a:ext cx="4608576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54792" y="2821491"/>
            <a:ext cx="4608576" cy="263737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534768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67761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5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91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4642" y="798973"/>
            <a:ext cx="3183128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34695" y="3205491"/>
            <a:ext cx="3184989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371687" y="798973"/>
            <a:ext cx="0" cy="2247117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66259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chemeClr val="bg2">
                    <a:lumMod val="10000"/>
                  </a:schemeClr>
                </a:gs>
                <a:gs pos="100000">
                  <a:schemeClr val="bg2">
                    <a:lumMod val="10000"/>
                  </a:schemeClr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133350" h="50800" prst="divo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5694" y="1129513"/>
            <a:ext cx="5447840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34695" y="3145992"/>
            <a:ext cx="5440037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34695" y="5469856"/>
            <a:ext cx="5440038" cy="320123"/>
          </a:xfrm>
        </p:spPr>
        <p:txBody>
          <a:bodyPr/>
          <a:lstStyle>
            <a:lvl1pPr algn="l">
              <a:defRPr/>
            </a:lvl1pPr>
          </a:lstStyle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534910" y="318640"/>
            <a:ext cx="5453475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71687" y="798973"/>
            <a:ext cx="0" cy="2161124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753764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8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34696" y="804519"/>
            <a:ext cx="9520158" cy="10492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34696" y="2015732"/>
            <a:ext cx="9520158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2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4695" y="329307"/>
            <a:ext cx="5855719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6">
            <a:extLst>
              <a:ext uri="{FF2B5EF4-FFF2-40B4-BE49-F238E27FC236}">
                <a16:creationId xmlns:a16="http://schemas.microsoft.com/office/drawing/2014/main" id="{B9352B63-B40A-8848-B8FD-707E972BD8A8}"/>
              </a:ext>
            </a:extLst>
          </p:cNvPr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503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651" r:id="rId13"/>
    <p:sldLayoutId id="2147483669" r:id="rId14"/>
    <p:sldLayoutId id="2147483662" r:id="rId15"/>
    <p:sldLayoutId id="2147483661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stevezhenghp/airbnb-price-prediction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U.S. border crossing entry visualization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Team: Quadra Q</a:t>
            </a:r>
          </a:p>
          <a:p>
            <a:r>
              <a:rPr lang="en-US" altLang="zh-CN" dirty="0"/>
              <a:t>WU </a:t>
            </a:r>
            <a:r>
              <a:rPr lang="en-US" altLang="zh-CN" dirty="0" err="1"/>
              <a:t>Zhiwei</a:t>
            </a:r>
            <a:r>
              <a:rPr lang="en-US" altLang="zh-CN" dirty="0"/>
              <a:t>   XU </a:t>
            </a:r>
            <a:r>
              <a:rPr lang="en-US" altLang="zh-CN" dirty="0" err="1"/>
              <a:t>Xiaohan</a:t>
            </a:r>
            <a:r>
              <a:rPr lang="en-US" altLang="zh-CN" dirty="0"/>
              <a:t>   Liu Ran   </a:t>
            </a:r>
            <a:r>
              <a:rPr lang="en-US" altLang="zh-CN" dirty="0" err="1"/>
              <a:t>Caihairui</a:t>
            </a:r>
            <a:endParaRPr lang="en-US" altLang="zh-CN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B8C23CA2-D3DE-C742-A4B7-E6AAD62937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96879" y="4953078"/>
            <a:ext cx="5618092" cy="296271"/>
          </a:xfrm>
        </p:spPr>
        <p:txBody>
          <a:bodyPr/>
          <a:lstStyle/>
          <a:p>
            <a:r>
              <a:rPr lang="en-US" altLang="zh-CN" dirty="0"/>
              <a:t>15.12,2019</a:t>
            </a:r>
            <a:endParaRPr lang="zh-CN" alt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32275" y="1700808"/>
            <a:ext cx="11088213" cy="4083608"/>
            <a:chOff x="432274" y="1700808"/>
            <a:chExt cx="11088213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32274" y="1700808"/>
              <a:ext cx="11088213" cy="4083608"/>
              <a:chOff x="863371" y="1700808"/>
              <a:chExt cx="10657116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891" indent="-342891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Background</a:t>
                </a: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 </a:t>
                </a: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and Data</a:t>
                </a:r>
              </a:p>
              <a:p>
                <a:pPr marL="342891" indent="-342891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Design goals and rationale </a:t>
                </a:r>
              </a:p>
              <a:p>
                <a:pPr marL="342891" indent="-342891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Visualization design</a:t>
                </a:r>
              </a:p>
              <a:p>
                <a:pPr marL="342891" indent="-342891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Contributions and Conclusion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863371" y="1700808"/>
                <a:ext cx="2833481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034510A-DB30-456D-9F45-F70101243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9E3E4AB-D495-4E09-86D0-3C3F1CD33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9D48945-BEE9-473E-9443-A1CE317E2D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E8FB920-D5E3-4F09-967F-5DB75441A3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C6870151-9189-4C3A-8379-EF3D95827A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6EE9D08-BFE7-E64D-B762-F2EE826DD64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l="6434" r="2012" b="-1"/>
          <a:stretch/>
        </p:blipFill>
        <p:spPr>
          <a:xfrm>
            <a:off x="305" y="10"/>
            <a:ext cx="12191695" cy="6857990"/>
          </a:xfrm>
          <a:prstGeom prst="rect">
            <a:avLst/>
          </a:prstGeom>
        </p:spPr>
      </p:pic>
      <p:sp>
        <p:nvSpPr>
          <p:cNvPr id="25" name="Slide Number Placeholder 7">
            <a:extLst>
              <a:ext uri="{FF2B5EF4-FFF2-40B4-BE49-F238E27FC236}">
                <a16:creationId xmlns:a16="http://schemas.microsoft.com/office/drawing/2014/main" id="{123EA69C-102A-4DD0-9547-05DCD271D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12301" y="443732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r" defTabSz="457200" rtl="0" eaLnBrk="1" latinLnBrk="0" hangingPunct="1"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6A862265-5CA3-4C40-8582-7534C3B03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76636" y="540921"/>
            <a:ext cx="49739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00EF80B-0391-4082-9AF5-F15B091B4C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93800"/>
            <a:ext cx="12192000" cy="566419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87000"/>
                  <a:alpha val="4000"/>
                </a:schemeClr>
              </a:gs>
              <a:gs pos="100000">
                <a:schemeClr val="bg2">
                  <a:lumMod val="95000"/>
                  <a:lumOff val="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0271" y="1193800"/>
            <a:ext cx="3193050" cy="4699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dirty="0">
                <a:sym typeface="+mn-lt"/>
              </a:rPr>
              <a:t>Background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3512302" y="448056"/>
            <a:ext cx="811019" cy="503578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DD3DB80-B894-403A-B48E-6FDC1A72010E}" type="slidenum">
              <a:rPr lang="en-US" altLang="zh-CN">
                <a:solidFill>
                  <a:schemeClr val="tx1"/>
                </a:solidFill>
              </a:rPr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endParaRPr lang="en-US" altLang="zh-CN">
              <a:solidFill>
                <a:schemeClr val="tx1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33AC32D-5F44-45F7-A0BD-7C11A86BED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600200"/>
            <a:ext cx="0" cy="3657600"/>
          </a:xfrm>
          <a:prstGeom prst="line">
            <a:avLst/>
          </a:prstGeom>
          <a:ln w="31750">
            <a:solidFill>
              <a:schemeClr val="tx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45DFB164-C97D-3C4B-A478-B375E17DCFDF}"/>
              </a:ext>
            </a:extLst>
          </p:cNvPr>
          <p:cNvSpPr txBox="1"/>
          <p:nvPr/>
        </p:nvSpPr>
        <p:spPr>
          <a:xfrm>
            <a:off x="4976636" y="1193800"/>
            <a:ext cx="6085091" cy="469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r>
              <a:rPr lang="en-US" altLang="zh-CN" dirty="0"/>
              <a:t>Imported goods can have multiple effects on a country. Research on imported goods is particularly important. </a:t>
            </a:r>
          </a:p>
          <a:p>
            <a:pPr defTabSz="9144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endParaRPr lang="en-US" altLang="zh-CN" dirty="0"/>
          </a:p>
          <a:p>
            <a:pPr defTabSz="9144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r>
              <a:rPr lang="en-US" altLang="zh-CN" dirty="0"/>
              <a:t>In this project, we combined the characteristics and types of data to design a complete and comprehensive visualization project. The inner relationship in the Border Crossing Entry Data of United States can be displayed intuitively.</a:t>
            </a:r>
          </a:p>
        </p:txBody>
      </p:sp>
      <p:sp>
        <p:nvSpPr>
          <p:cNvPr id="33" name="Date Placeholder 1">
            <a:extLst>
              <a:ext uri="{FF2B5EF4-FFF2-40B4-BE49-F238E27FC236}">
                <a16:creationId xmlns:a16="http://schemas.microsoft.com/office/drawing/2014/main" id="{3FBF03E8-C602-4192-9C52-F84B29FDCC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723229" y="6007878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774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20409" y="513558"/>
            <a:ext cx="9520158" cy="1049235"/>
          </a:xfrm>
        </p:spPr>
        <p:txBody>
          <a:bodyPr/>
          <a:lstStyle/>
          <a:p>
            <a:r>
              <a:rPr lang="en-US" altLang="zh-CN" dirty="0">
                <a:sym typeface="+mn-lt"/>
              </a:rPr>
              <a:t>Dat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图片 4" descr="手机屏幕的截图&#10;&#10;描述已自动生成">
            <a:extLst>
              <a:ext uri="{FF2B5EF4-FFF2-40B4-BE49-F238E27FC236}">
                <a16:creationId xmlns:a16="http://schemas.microsoft.com/office/drawing/2014/main" id="{1CB10FDB-FC87-E541-A438-3440F0E886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4424" y="1867013"/>
            <a:ext cx="8780682" cy="4119448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26573129-BF7C-2841-8DDF-7340112C15EA}"/>
              </a:ext>
            </a:extLst>
          </p:cNvPr>
          <p:cNvSpPr txBox="1"/>
          <p:nvPr/>
        </p:nvSpPr>
        <p:spPr>
          <a:xfrm>
            <a:off x="648870" y="2081325"/>
            <a:ext cx="1894305" cy="39051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indent="-228600" defTabSz="9144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b="1" dirty="0"/>
              <a:t>Source</a:t>
            </a:r>
          </a:p>
          <a:p>
            <a:pPr indent="-228600" defTabSz="914400">
              <a:lnSpc>
                <a:spcPct val="12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i="1" dirty="0" err="1"/>
              <a:t>Kaggle.com</a:t>
            </a:r>
            <a:r>
              <a:rPr lang="en-US" altLang="zh-CN" dirty="0"/>
              <a:t> (</a:t>
            </a:r>
            <a:r>
              <a:rPr lang="en-US" altLang="zh-CN" u="sng" dirty="0">
                <a:hlinkClick r:id="rId3"/>
              </a:rPr>
              <a:t>https://www.kaggle.com/stevezhenghp/airbnb-price-prediction</a:t>
            </a:r>
            <a:r>
              <a:rPr lang="en-US" altLang="zh-CN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57572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B56CED6-ACD4-43B1-BE53-1B579E8C6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451061-F85B-40DB-92DA-1FD61C70C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1F836F1-51D4-4090-8E0D-97877F036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DE33292-50BA-4AED-A315-7A6ADB4B1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334637" y="798973"/>
            <a:ext cx="0" cy="2544756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58A4B56A-28BF-494A-B9A0-7212483E8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A5EE248-87D5-4C83-A97D-C1754B546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41822" y="962902"/>
            <a:ext cx="4087178" cy="2380828"/>
          </a:xfr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altLang="zh-CN" sz="4800" dirty="0">
                <a:sym typeface="+mn-lt"/>
              </a:rPr>
              <a:t>Part 2:</a:t>
            </a:r>
            <a:br>
              <a:rPr lang="en-US" altLang="zh-CN" sz="4800" dirty="0">
                <a:sym typeface="+mn-lt"/>
              </a:rPr>
            </a:br>
            <a:r>
              <a:rPr lang="en-US" altLang="zh-CN" sz="4800" dirty="0">
                <a:sym typeface="+mn-lt"/>
              </a:rPr>
              <a:t>Design goal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72501" y="798973"/>
            <a:ext cx="811019" cy="503579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DD3DB80-B894-403A-B48E-6FDC1A72010E}" type="slidenum">
              <a:rPr lang="en-US" altLang="zh-CN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endParaRPr lang="en-US" altLang="zh-CN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73BF24-D1F3-4181-8C60-4EA9D4CED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75829" y="798973"/>
            <a:ext cx="0" cy="2544756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图片 2">
            <a:extLst>
              <a:ext uri="{FF2B5EF4-FFF2-40B4-BE49-F238E27FC236}">
                <a16:creationId xmlns:a16="http://schemas.microsoft.com/office/drawing/2014/main" id="{24BF65CD-64A8-EA43-9E02-0F7F21811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4251" y="805583"/>
            <a:ext cx="4660762" cy="466076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A52E10F-3348-4997-8FD3-E6389D562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D381074-0101-41BB-98A9-EE3DC457C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8697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B56CED6-ACD4-43B1-BE53-1B579E8C6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B451061-F85B-40DB-92DA-1FD61C70C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F836F1-51D4-4090-8E0D-97877F036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A01027E-B10F-4212-8A7C-18D371461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34696" y="804519"/>
            <a:ext cx="9520158" cy="104923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>
                <a:sym typeface="+mn-lt"/>
              </a:rPr>
              <a:t>Design goals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80060" y="798973"/>
            <a:ext cx="811019" cy="503578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DD3DB80-B894-403A-B48E-6FDC1A72010E}" type="slidenum">
              <a:rPr lang="en-US" altLang="zh-CN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en-US" altLang="zh-CN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5DFB164-C97D-3C4B-A478-B375E17DCFDF}"/>
              </a:ext>
            </a:extLst>
          </p:cNvPr>
          <p:cNvSpPr txBox="1"/>
          <p:nvPr/>
        </p:nvSpPr>
        <p:spPr>
          <a:xfrm>
            <a:off x="1534695" y="2184357"/>
            <a:ext cx="6112668" cy="32819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500" b="1" dirty="0"/>
              <a:t>From a lot of research on import trade, we find that the main concerns are as follows: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lang="en-US" altLang="zh-CN" sz="1500" b="1" dirty="0"/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500" dirty="0"/>
              <a:t>Where are the goods imported from? </a:t>
            </a:r>
          </a:p>
          <a:p>
            <a:pPr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r>
              <a:rPr lang="en-US" altLang="zh-CN" sz="1500" dirty="0"/>
              <a:t>	the</a:t>
            </a:r>
            <a:r>
              <a:rPr lang="zh-CN" altLang="en-US" sz="1500" dirty="0"/>
              <a:t> </a:t>
            </a:r>
            <a:r>
              <a:rPr lang="en-US" altLang="zh-CN" sz="1500" dirty="0"/>
              <a:t>state and port name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500" dirty="0"/>
              <a:t>How total value of imported goods changed by state over time. </a:t>
            </a:r>
          </a:p>
          <a:p>
            <a:pPr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r>
              <a:rPr lang="en-US" altLang="zh-CN" sz="1500" dirty="0"/>
              <a:t>	the change of volume over time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zh-CN" sz="1500" dirty="0"/>
              <a:t>How are imported goods imported? What percentage of each method?</a:t>
            </a:r>
          </a:p>
          <a:p>
            <a:pPr marL="685800" lvl="2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</a:pPr>
            <a:r>
              <a:rPr lang="en-US" altLang="zh-CN" sz="1500" dirty="0"/>
              <a:t>air , rail or trunk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lang="en-US" altLang="zh-CN" sz="15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E0403AA-83E3-6F42-B8D2-A2D6125448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4558" y="2092324"/>
            <a:ext cx="3175000" cy="261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4888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B56CED6-ACD4-43B1-BE53-1B579E8C6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B451061-F85B-40DB-92DA-1FD61C70C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F836F1-51D4-4090-8E0D-97877F036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A01027E-B10F-4212-8A7C-18D371461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71687" y="798973"/>
            <a:ext cx="0" cy="1067168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标题 1">
            <a:extLst>
              <a:ext uri="{FF2B5EF4-FFF2-40B4-BE49-F238E27FC236}">
                <a16:creationId xmlns:a16="http://schemas.microsoft.com/office/drawing/2014/main" id="{9FE57878-8034-BE49-A55B-39B5A1991759}"/>
              </a:ext>
            </a:extLst>
          </p:cNvPr>
          <p:cNvSpPr txBox="1">
            <a:spLocks/>
          </p:cNvSpPr>
          <p:nvPr/>
        </p:nvSpPr>
        <p:spPr>
          <a:xfrm>
            <a:off x="1534696" y="804519"/>
            <a:ext cx="9520158" cy="10492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none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altLang="zh-CN" dirty="0">
                <a:sym typeface="+mn-lt"/>
              </a:rPr>
              <a:t>Design Rationale</a:t>
            </a:r>
            <a:endParaRPr lang="en-US" altLang="zh-CN"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80060" y="798973"/>
            <a:ext cx="811019" cy="503578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DD3DB80-B894-403A-B48E-6FDC1A72010E}" type="slidenum">
              <a:rPr lang="en-US" altLang="zh-CN" smtClean="0"/>
              <a:pPr>
                <a:lnSpc>
                  <a:spcPct val="90000"/>
                </a:lnSpc>
                <a:spcAft>
                  <a:spcPts val="600"/>
                </a:spcAft>
              </a:pPr>
              <a:t>7</a:t>
            </a:fld>
            <a:endParaRPr lang="en-US" altLang="zh-CN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5DFB164-C97D-3C4B-A478-B375E17DCFDF}"/>
              </a:ext>
            </a:extLst>
          </p:cNvPr>
          <p:cNvSpPr txBox="1"/>
          <p:nvPr/>
        </p:nvSpPr>
        <p:spPr>
          <a:xfrm>
            <a:off x="1534695" y="2184357"/>
            <a:ext cx="4262286" cy="32819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altLang="zh-CN" sz="1700" b="1" dirty="0"/>
              <a:t>Rationale 1:Present the relationship of ports and destination. 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altLang="zh-CN" sz="1700" dirty="0"/>
              <a:t>According to the T1, for a continent, our project needs to show the origin of the goods. 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kumimoji="1" lang="en-US" altLang="zh-CN" sz="1700" dirty="0"/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altLang="zh-CN" sz="1700" b="1" dirty="0"/>
              <a:t>Rationale 2: Show the value and trends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kumimoji="1" lang="en-US" altLang="zh-CN" sz="1700" b="1" dirty="0"/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altLang="zh-CN" sz="1700" b="1" dirty="0"/>
              <a:t>Rationale 3: Interactive and intuitive </a:t>
            </a:r>
          </a:p>
          <a:p>
            <a:pPr indent="-228600" defTabSz="91440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kumimoji="1" lang="en-US" altLang="zh-CN" sz="1700" b="1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5C64EBC-1027-594A-8B44-FABB68600F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7257" y="2732476"/>
            <a:ext cx="4777596" cy="21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676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B56CED6-ACD4-43B1-BE53-1B579E8C6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B451061-F85B-40DB-92DA-1FD61C70C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1F836F1-51D4-4090-8E0D-97877F036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DE33292-50BA-4AED-A315-7A6ADB4B1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334637" y="798973"/>
            <a:ext cx="0" cy="2544756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58A4B56A-28BF-494A-B9A0-7212483E8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5EE248-87D5-4C83-A97D-C1754B546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5732"/>
            <a:ext cx="12192000" cy="4118829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68139" y="1709526"/>
            <a:ext cx="4087178" cy="2380828"/>
          </a:xfr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altLang="zh-CN" sz="4100" dirty="0">
                <a:sym typeface="+mn-lt"/>
              </a:rPr>
              <a:t>Part 3:</a:t>
            </a:r>
            <a:br>
              <a:rPr lang="en-US" altLang="zh-CN" sz="4100" dirty="0">
                <a:sym typeface="+mn-lt"/>
              </a:rPr>
            </a:br>
            <a:r>
              <a:rPr lang="en-US" altLang="zh-CN" sz="4100" dirty="0">
                <a:sym typeface="+mn-lt"/>
              </a:rPr>
              <a:t>Visualization design</a:t>
            </a:r>
            <a:br>
              <a:rPr lang="en-US" altLang="zh-CN" sz="4100" dirty="0">
                <a:sym typeface="+mn-lt"/>
              </a:rPr>
            </a:br>
            <a:endParaRPr lang="en-US" altLang="zh-CN" sz="4100" dirty="0"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72501" y="798973"/>
            <a:ext cx="811019" cy="503579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5DD3DB80-B894-403A-B48E-6FDC1A72010E}" type="slidenum">
              <a:rPr lang="en-US" altLang="zh-CN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endParaRPr lang="en-US" altLang="zh-CN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D73BF24-D1F3-4181-8C60-4EA9D4CED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75829" y="798973"/>
            <a:ext cx="0" cy="2544756"/>
          </a:xfrm>
          <a:prstGeom prst="line">
            <a:avLst/>
          </a:prstGeom>
          <a:ln w="38100" cmpd="sng">
            <a:solidFill>
              <a:schemeClr val="accent1"/>
            </a:solidFill>
            <a:prstDash val="solid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C70E21E4-B348-6A4A-B7A3-2B80D648A8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11" y="1362606"/>
            <a:ext cx="4960442" cy="354671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1A52E10F-3348-4997-8FD3-E6389D562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/>
          <a:srcRect t="2769" b="-2769"/>
          <a:stretch/>
        </p:blipFill>
        <p:spPr>
          <a:xfrm>
            <a:off x="0" y="6135624"/>
            <a:ext cx="12192000" cy="74295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D381074-0101-41BB-98A9-EE3DC457C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41705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503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b="0" dirty="0">
                <a:sym typeface="+mn-lt"/>
              </a:rPr>
              <a:t>Project Outcome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5DFB164-C97D-3C4B-A478-B375E17DCFDF}"/>
              </a:ext>
            </a:extLst>
          </p:cNvPr>
          <p:cNvSpPr txBox="1"/>
          <p:nvPr/>
        </p:nvSpPr>
        <p:spPr>
          <a:xfrm>
            <a:off x="816953" y="1346818"/>
            <a:ext cx="460197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 dirty="0"/>
              <a:t>interpretable dataset </a:t>
            </a:r>
          </a:p>
          <a:p>
            <a:pPr lvl="1"/>
            <a:r>
              <a:rPr lang="en-US" altLang="zh-CN" sz="2400" dirty="0"/>
              <a:t>apply various data cleansing methods and feature engineering means to generate an interpretable datase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 dirty="0"/>
              <a:t>data processing summ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 dirty="0"/>
              <a:t>prediction model </a:t>
            </a:r>
          </a:p>
          <a:p>
            <a:pPr lvl="1"/>
            <a:r>
              <a:rPr lang="en-US" altLang="zh-CN" sz="2400" dirty="0"/>
              <a:t>compare the performance of all the methods.</a:t>
            </a:r>
          </a:p>
          <a:p>
            <a:pPr lvl="1"/>
            <a:r>
              <a:rPr lang="en-US" altLang="zh-CN" sz="2400" dirty="0"/>
              <a:t>used and pick the best one as our final strategy for house price predicting </a:t>
            </a:r>
            <a:endParaRPr lang="en-US" altLang="zh-CN" sz="2400" b="1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0DD6FB6-39BC-B04D-A66E-12C6C67CE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1019" y="4006048"/>
            <a:ext cx="2622176" cy="262217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26C9A291-DC17-5248-8C62-378F8C110789}"/>
              </a:ext>
            </a:extLst>
          </p:cNvPr>
          <p:cNvSpPr txBox="1"/>
          <p:nvPr/>
        </p:nvSpPr>
        <p:spPr>
          <a:xfrm>
            <a:off x="6095206" y="1346818"/>
            <a:ext cx="469380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 dirty="0"/>
              <a:t>prediction summ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1" dirty="0"/>
              <a:t>data visualization result </a:t>
            </a:r>
          </a:p>
          <a:p>
            <a:pPr lvl="1"/>
            <a:r>
              <a:rPr kumimoji="1" lang="en-GB" altLang="zh-CN" sz="2400" dirty="0"/>
              <a:t>use a variety of tools to visualize the original dataset, making the data and the predicting results more intuitive and vivid. </a:t>
            </a:r>
          </a:p>
          <a:p>
            <a:endParaRPr kumimoji="1"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385778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画廊">
  <a:themeElements>
    <a:clrScheme name="画廊">
      <a:dk1>
        <a:sysClr val="windowText" lastClr="000000"/>
      </a:dk1>
      <a:lt1>
        <a:sysClr val="window" lastClr="FFFFFF"/>
      </a:lt1>
      <a:dk2>
        <a:srgbClr val="454545"/>
      </a:dk2>
      <a:lt2>
        <a:srgbClr val="EDEBE7"/>
      </a:lt2>
      <a:accent1>
        <a:srgbClr val="5FA534"/>
      </a:accent1>
      <a:accent2>
        <a:srgbClr val="DCAB34"/>
      </a:accent2>
      <a:accent3>
        <a:srgbClr val="D26D23"/>
      </a:accent3>
      <a:accent4>
        <a:srgbClr val="972323"/>
      </a:accent4>
      <a:accent5>
        <a:srgbClr val="236797"/>
      </a:accent5>
      <a:accent6>
        <a:srgbClr val="2FB6C6"/>
      </a:accent6>
      <a:hlink>
        <a:srgbClr val="8FC639"/>
      </a:hlink>
      <a:folHlink>
        <a:srgbClr val="E7C272"/>
      </a:folHlink>
    </a:clrScheme>
    <a:fontScheme name="画廊">
      <a:majorFont>
        <a:latin typeface="Palatino Linotype" panose="020405020505050303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 panose="020405020505050303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画廊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AC464412-510E-4F2B-8947-A0DDBD028997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8</Words>
  <Application>Microsoft Macintosh PowerPoint</Application>
  <PresentationFormat>宽屏</PresentationFormat>
  <Paragraphs>51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4" baseType="lpstr">
      <vt:lpstr>Arial</vt:lpstr>
      <vt:lpstr>Calibri</vt:lpstr>
      <vt:lpstr>Palatino Linotype</vt:lpstr>
      <vt:lpstr>画廊</vt:lpstr>
      <vt:lpstr>think-cell Slide</vt:lpstr>
      <vt:lpstr>U.S. border crossing entry visualization</vt:lpstr>
      <vt:lpstr>PowerPoint 演示文稿</vt:lpstr>
      <vt:lpstr>Background</vt:lpstr>
      <vt:lpstr>Data</vt:lpstr>
      <vt:lpstr>Part 2: Design goals</vt:lpstr>
      <vt:lpstr>Design goals</vt:lpstr>
      <vt:lpstr>PowerPoint 演示文稿</vt:lpstr>
      <vt:lpstr>Part 3: Visualization design </vt:lpstr>
      <vt:lpstr>Project Outco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.S. border crossing entry visualization</dc:title>
  <dc:creator>Z9550</dc:creator>
  <cp:lastModifiedBy>Z9550</cp:lastModifiedBy>
  <cp:revision>1</cp:revision>
  <dcterms:created xsi:type="dcterms:W3CDTF">2019-12-15T09:27:06Z</dcterms:created>
  <dcterms:modified xsi:type="dcterms:W3CDTF">2019-12-15T09:27:12Z</dcterms:modified>
</cp:coreProperties>
</file>